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8" r:id="rId4"/>
  </p:sldMasterIdLst>
  <p:notesMasterIdLst>
    <p:notesMasterId r:id="rId17"/>
  </p:notesMasterIdLst>
  <p:sldIdLst>
    <p:sldId id="1902" r:id="rId5"/>
    <p:sldId id="1898" r:id="rId6"/>
    <p:sldId id="1911" r:id="rId7"/>
    <p:sldId id="1909" r:id="rId8"/>
    <p:sldId id="1904" r:id="rId9"/>
    <p:sldId id="1907" r:id="rId10"/>
    <p:sldId id="1912" r:id="rId11"/>
    <p:sldId id="1910" r:id="rId12"/>
    <p:sldId id="1908" r:id="rId13"/>
    <p:sldId id="1906" r:id="rId14"/>
    <p:sldId id="1905" r:id="rId15"/>
    <p:sldId id="1900" r:id="rId16"/>
  </p:sldIdLst>
  <p:sldSz cx="12192000" cy="6858000"/>
  <p:notesSz cx="7010400" cy="92964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1" userDrawn="1">
          <p15:clr>
            <a:srgbClr val="A4A3A4"/>
          </p15:clr>
        </p15:guide>
        <p15:guide id="2" pos="7861" userDrawn="1">
          <p15:clr>
            <a:srgbClr val="A4A3A4"/>
          </p15:clr>
        </p15:guide>
        <p15:guide id="3" pos="8748" userDrawn="1">
          <p15:clr>
            <a:srgbClr val="A4A3A4"/>
          </p15:clr>
        </p15:guide>
        <p15:guide id="4" pos="8869" userDrawn="1">
          <p15:clr>
            <a:srgbClr val="A4A3A4"/>
          </p15:clr>
        </p15:guide>
        <p15:guide id="5" pos="9756" userDrawn="1">
          <p15:clr>
            <a:srgbClr val="A4A3A4"/>
          </p15:clr>
        </p15:guide>
        <p15:guide id="6" pos="5967" userDrawn="1">
          <p15:clr>
            <a:srgbClr val="A4A3A4"/>
          </p15:clr>
        </p15:guide>
        <p15:guide id="7" pos="572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omas Yang" initials="TY" lastIdx="1" clrIdx="0">
    <p:extLst>
      <p:ext uri="{19B8F6BF-5375-455C-9EA6-DF929625EA0E}">
        <p15:presenceInfo xmlns:p15="http://schemas.microsoft.com/office/powerpoint/2012/main" userId="ad8d2f6ccd6e35e7" providerId="Windows Live"/>
      </p:ext>
    </p:extLst>
  </p:cmAuthor>
  <p:cmAuthor id="2" name="Patrick Grogan" initials="PG" lastIdx="2" clrIdx="1">
    <p:extLst>
      <p:ext uri="{19B8F6BF-5375-455C-9EA6-DF929625EA0E}">
        <p15:presenceInfo xmlns:p15="http://schemas.microsoft.com/office/powerpoint/2012/main" userId="S::patrick.grogan@bobit.com::2ed55fe6-af79-4b21-8e8c-e4ed8b91bb34" providerId="AD"/>
      </p:ext>
    </p:extLst>
  </p:cmAuthor>
  <p:cmAuthor id="3" name="Paras Maniar" initials="PM" lastIdx="12" clrIdx="2">
    <p:extLst>
      <p:ext uri="{19B8F6BF-5375-455C-9EA6-DF929625EA0E}">
        <p15:presenceInfo xmlns:p15="http://schemas.microsoft.com/office/powerpoint/2012/main" userId="S::paras.maniar@bobit.com::b41dbfc5-e2e4-45f7-8cc0-1fe34f274ab5" providerId="AD"/>
      </p:ext>
    </p:extLst>
  </p:cmAuthor>
  <p:cmAuthor id="4" name="Erin Fields" initials="EF" lastIdx="1" clrIdx="3">
    <p:extLst>
      <p:ext uri="{19B8F6BF-5375-455C-9EA6-DF929625EA0E}">
        <p15:presenceInfo xmlns:p15="http://schemas.microsoft.com/office/powerpoint/2012/main" userId="S::erin.fields@bobit.com::c1160b52-c74a-414e-969a-abc92a1219f5" providerId="AD"/>
      </p:ext>
    </p:extLst>
  </p:cmAuthor>
  <p:cmAuthor id="5" name="Justin Sorensen" initials="JS" lastIdx="1" clrIdx="4">
    <p:extLst>
      <p:ext uri="{19B8F6BF-5375-455C-9EA6-DF929625EA0E}">
        <p15:presenceInfo xmlns:p15="http://schemas.microsoft.com/office/powerpoint/2012/main" userId="S::justin.sorensen@bobit.com::86558eec-5003-44a4-b1ba-6bf85740ae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83BA"/>
    <a:srgbClr val="142139"/>
    <a:srgbClr val="223F81"/>
    <a:srgbClr val="049DB4"/>
    <a:srgbClr val="1D373A"/>
    <a:srgbClr val="363544"/>
    <a:srgbClr val="292D2C"/>
    <a:srgbClr val="50504F"/>
    <a:srgbClr val="575554"/>
    <a:srgbClr val="5755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727"/>
  </p:normalViewPr>
  <p:slideViewPr>
    <p:cSldViewPr snapToGrid="0">
      <p:cViewPr varScale="1">
        <p:scale>
          <a:sx n="111" d="100"/>
          <a:sy n="111" d="100"/>
        </p:scale>
        <p:origin x="534" y="96"/>
      </p:cViewPr>
      <p:guideLst>
        <p:guide orient="horz" pos="791"/>
        <p:guide pos="7861"/>
        <p:guide pos="8748"/>
        <p:guide pos="8869"/>
        <p:guide pos="9756"/>
        <p:guide pos="5967"/>
        <p:guide pos="572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5" tIns="46588" rIns="93175" bIns="46588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5" tIns="46588" rIns="93175" bIns="46588" rtlCol="0"/>
          <a:lstStyle>
            <a:lvl1pPr algn="r">
              <a:defRPr sz="1200"/>
            </a:lvl1pPr>
          </a:lstStyle>
          <a:p>
            <a:fld id="{A9F470FE-8303-6B45-95C0-AB80C054DD91}" type="datetimeFigureOut">
              <a:rPr lang="en-AU" smtClean="0"/>
              <a:t>23/01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5" tIns="46588" rIns="93175" bIns="46588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5" tIns="46588" rIns="93175" bIns="4658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5" tIns="46588" rIns="93175" bIns="46588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5" tIns="46588" rIns="93175" bIns="46588" rtlCol="0" anchor="b"/>
          <a:lstStyle>
            <a:lvl1pPr algn="r">
              <a:defRPr sz="1200"/>
            </a:lvl1pPr>
          </a:lstStyle>
          <a:p>
            <a:fld id="{B0601289-CE86-324C-ABEC-EFFB9FDF96C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68348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A0940-5697-EB42-B50E-AFFC765B2A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8908" y="1122363"/>
            <a:ext cx="5726035" cy="2387600"/>
          </a:xfrm>
        </p:spPr>
        <p:txBody>
          <a:bodyPr anchor="t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CEA539-582F-6C44-A3F3-C566FF33A9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2850406"/>
            <a:ext cx="5322439" cy="504497"/>
          </a:xfrm>
          <a:solidFill>
            <a:schemeClr val="tx1"/>
          </a:solidFill>
        </p:spPr>
        <p:txBody>
          <a:bodyPr anchor="ctr"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17200D-FFBB-4D49-B391-F58FAD073F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FC0AC-7FC5-7543-8854-DF527C59B87C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45533B-E42B-F144-A996-6952029C7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C3D2E2-F723-9640-99FE-03237F16E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6248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A759-D7B4-1342-912C-606C9B230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F0E0FC-A8A4-3046-8FAE-732FDF5BA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FC0AC-7FC5-7543-8854-DF527C59B87C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4FB259-EBD9-1244-9C0C-5A46CE5A9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ECBA0-2488-584E-919A-7066E140A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1538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DFAC32-0A0A-E54C-8DAA-059A743327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FC0AC-7FC5-7543-8854-DF527C59B87C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4840E9-851F-2641-A6E7-510601C357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1EAD31-4336-3C42-A57D-5613C1B229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1026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C4E11-5944-AE44-9ABE-AC3868BA23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7538E3-85E7-9649-90FD-A759E03DC9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DA0B39-1BC2-F349-A894-C9037BE0DE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5565F6-C7C4-9F41-AFC1-25CC53278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FC0AC-7FC5-7543-8854-DF527C59B87C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5DF0E6-4FE2-784C-8E46-6A068C2DF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68ABBC-79B7-E94D-9497-8AA713D8C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2153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02AB39-DC07-4C4B-8A45-DE320FFC6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659A7F5-497B-EE45-AA53-566E46FA452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851102-40B3-0E4C-8111-F261602821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D1A67C-EC4B-B345-9330-F23DF6D74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FC0AC-7FC5-7543-8854-DF527C59B87C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E22368-122A-E941-A4C3-5AD507DDA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794773-274B-234E-9544-A0C53AEBA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5956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24DB2-B115-864A-9D99-37C33DD47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DC3F798-FFF4-1B4A-A7E2-BFE0E4A04C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D043C8-90F6-BA47-82C2-953BA980E7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FC0AC-7FC5-7543-8854-DF527C59B87C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7D4604-DAF0-8F48-A99F-0C1149F65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3E2FC5-27A6-794F-A823-E733C26BB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1023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C50CA45-7EE3-234F-8636-E82147C6B4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41A4A9E-1F6F-3441-AE3D-01746404DE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667051-D236-9B4E-8B30-C99881779A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FC0AC-7FC5-7543-8854-DF527C59B87C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14AB59-7FD9-314A-BD1A-C815506E8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896CC1-A2E8-9D42-884D-748A9552E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7474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68" imgH="568" progId="TCLayout.ActiveDocument.1">
                  <p:embed/>
                </p:oleObj>
              </mc:Choice>
              <mc:Fallback>
                <p:oleObj name="think-cell Slide" r:id="rId3" imgW="568" imgH="56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600196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A0940-5697-EB42-B50E-AFFC765B2A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8908" y="1122363"/>
            <a:ext cx="5726035" cy="2387600"/>
          </a:xfrm>
        </p:spPr>
        <p:txBody>
          <a:bodyPr anchor="t">
            <a:norm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CEA539-582F-6C44-A3F3-C566FF33A9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2850406"/>
            <a:ext cx="5322439" cy="504497"/>
          </a:xfrm>
          <a:solidFill>
            <a:schemeClr val="tx1"/>
          </a:solidFill>
        </p:spPr>
        <p:txBody>
          <a:bodyPr anchor="ctr"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17200D-FFBB-4D49-B391-F58FAD073F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FC0AC-7FC5-7543-8854-DF527C59B87C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45533B-E42B-F144-A996-6952029C7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C3D2E2-F723-9640-99FE-03237F16E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0386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2208E-BB28-4A4B-8DAC-6FFB3590EC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555581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B65071-EBF4-C148-A48C-AF3DA53D9E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86466"/>
            <a:ext cx="10515600" cy="4890497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F7B474-EC9E-8042-AD03-659AE6C04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6041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2208E-BB28-4A4B-8DAC-6FFB3590EC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"/>
            <a:ext cx="10515600" cy="990074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B65071-EBF4-C148-A48C-AF3DA53D9E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24303"/>
            <a:ext cx="10515600" cy="485266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F7B474-EC9E-8042-AD03-659AE6C04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8398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2208E-BB28-4A4B-8DAC-6FFB3590E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9848" y="365125"/>
            <a:ext cx="7443952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B65071-EBF4-C148-A48C-AF3DA53D9E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09846" y="1825625"/>
            <a:ext cx="7443953" cy="435133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F7B474-EC9E-8042-AD03-659AE6C04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5158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2208E-BB28-4A4B-8DAC-6FFB3590E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40" y="365125"/>
            <a:ext cx="806196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B65071-EBF4-C148-A48C-AF3DA53D9E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91838" y="1825625"/>
            <a:ext cx="8061961" cy="435133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F7B474-EC9E-8042-AD03-659AE6C04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01893BF-0E58-1A4C-846D-8BB5C54518AF}"/>
              </a:ext>
            </a:extLst>
          </p:cNvPr>
          <p:cNvSpPr txBox="1">
            <a:spLocks/>
          </p:cNvSpPr>
          <p:nvPr userDrawn="1"/>
        </p:nvSpPr>
        <p:spPr>
          <a:xfrm>
            <a:off x="373117" y="500062"/>
            <a:ext cx="214306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chemeClr val="bg1"/>
                </a:solidFill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8066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3DB6D4-1A05-2F49-A691-B12CE2398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B9CF6A-72C3-C04B-A9AB-0F3AED03E1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823F64-02C1-074B-BADF-C57BCCD1C8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FC0AC-7FC5-7543-8854-DF527C59B87C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E4841-5498-4A42-B613-CCF8A338CB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924AB8-BBD2-0E45-99CC-39FAC77188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7342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4AA89C-23CC-D143-90DB-DFE73EF95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2EDF28-E0FE-F245-9045-C5EA37EDB0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B16158-DB9F-9440-A9ED-0B92883AD5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3A54D6-32CC-B745-814B-9C6789DF9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FC0AC-7FC5-7543-8854-DF527C59B87C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A24F8-F3A7-E74D-B9F9-C81D5754BB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B0691F-F700-BA4D-81A2-D7105621A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5344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8E8F20-E0CB-2B4F-9854-27D599349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2C51FB-35F4-4C43-926E-9AC8F70924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2E6930-3A5D-724E-B8F0-7629BFA17D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63321E-99B1-F649-9BC6-F723D63293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FF83540-C0AD-EC41-978E-25667CC151E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509D8A-F08C-8642-A790-73A69DA84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FC0AC-7FC5-7543-8854-DF527C59B87C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4864F7-62B3-7743-B062-9BB7A3167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BF6835-FF8E-8C42-84AB-3E8DF7C94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BD973-2A48-914F-90C2-0EB6BB69C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784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5AA00A-D1D7-EC48-8F15-D7C0635BED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555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A97641-56E9-064C-BFFF-C0A441AB19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79261"/>
            <a:ext cx="10515600" cy="4997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5641D2-7E49-A042-A301-BDBD483949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CFC0AC-7FC5-7543-8854-DF527C59B87C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090618-6168-5C4F-BD23-CEAF0E0994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006972-3870-044D-B896-B880C25790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93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DBD973-2A48-914F-90C2-0EB6BB69CB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032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714" r:id="rId2"/>
    <p:sldLayoutId id="2147483690" r:id="rId3"/>
    <p:sldLayoutId id="2147483712" r:id="rId4"/>
    <p:sldLayoutId id="2147483711" r:id="rId5"/>
    <p:sldLayoutId id="2147483713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9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image" Target="../media/image10.emf"/><Relationship Id="rId7" Type="http://schemas.openxmlformats.org/officeDocument/2006/relationships/image" Target="../media/image14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image" Target="../media/image11.emf"/><Relationship Id="rId9" Type="http://schemas.openxmlformats.org/officeDocument/2006/relationships/image" Target="../media/image16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C25771-3395-2F43-A7A8-4C16E6A6B3E2}"/>
              </a:ext>
            </a:extLst>
          </p:cNvPr>
          <p:cNvSpPr/>
          <p:nvPr/>
        </p:nvSpPr>
        <p:spPr>
          <a:xfrm>
            <a:off x="0" y="4343400"/>
            <a:ext cx="12192000" cy="2514599"/>
          </a:xfrm>
          <a:prstGeom prst="rect">
            <a:avLst/>
          </a:prstGeom>
          <a:gradFill>
            <a:gsLst>
              <a:gs pos="0">
                <a:srgbClr val="049DB4"/>
              </a:gs>
              <a:gs pos="34000">
                <a:srgbClr val="0383BA"/>
              </a:gs>
              <a:gs pos="69000">
                <a:srgbClr val="223F81"/>
              </a:gs>
              <a:gs pos="100000">
                <a:srgbClr val="142139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79B4095-4EF0-DB41-A90D-475EB238A959}"/>
              </a:ext>
            </a:extLst>
          </p:cNvPr>
          <p:cNvSpPr txBox="1">
            <a:spLocks/>
          </p:cNvSpPr>
          <p:nvPr/>
        </p:nvSpPr>
        <p:spPr>
          <a:xfrm>
            <a:off x="208156" y="4643162"/>
            <a:ext cx="11604702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Fleet information with the capacity to provide deeper understanding and drive sales growth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9B31EFF-C348-6D45-9BE9-6FE07FED651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-52969"/>
            <a:ext cx="12179300" cy="429043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7E1CE92-9B91-1E42-AD6C-45901C5BEB20}"/>
              </a:ext>
            </a:extLst>
          </p:cNvPr>
          <p:cNvSpPr/>
          <p:nvPr/>
        </p:nvSpPr>
        <p:spPr>
          <a:xfrm>
            <a:off x="0" y="4237463"/>
            <a:ext cx="12192000" cy="105937"/>
          </a:xfrm>
          <a:prstGeom prst="rect">
            <a:avLst/>
          </a:prstGeom>
          <a:gradFill>
            <a:gsLst>
              <a:gs pos="0">
                <a:srgbClr val="049DB4"/>
              </a:gs>
              <a:gs pos="34000">
                <a:srgbClr val="0383BA"/>
              </a:gs>
              <a:gs pos="69000">
                <a:srgbClr val="223F81"/>
              </a:gs>
              <a:gs pos="100000">
                <a:srgbClr val="142139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666061-919D-4FFB-A38D-CFB0EE8960A8}"/>
              </a:ext>
            </a:extLst>
          </p:cNvPr>
          <p:cNvSpPr txBox="1"/>
          <p:nvPr/>
        </p:nvSpPr>
        <p:spPr>
          <a:xfrm rot="10800000" flipH="1" flipV="1">
            <a:off x="2697112" y="307151"/>
            <a:ext cx="698842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leet Connection:</a:t>
            </a:r>
          </a:p>
          <a:p>
            <a:pPr algn="ctr"/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leet Insights Data</a:t>
            </a:r>
          </a:p>
          <a:p>
            <a:pPr algn="ctr"/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wering Your Fleet Sales Pipeline</a:t>
            </a:r>
          </a:p>
        </p:txBody>
      </p:sp>
    </p:spTree>
    <p:extLst>
      <p:ext uri="{BB962C8B-B14F-4D97-AF65-F5344CB8AC3E}">
        <p14:creationId xmlns:p14="http://schemas.microsoft.com/office/powerpoint/2010/main" val="27039887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C25771-3395-2F43-A7A8-4C16E6A6B3E2}"/>
              </a:ext>
            </a:extLst>
          </p:cNvPr>
          <p:cNvSpPr/>
          <p:nvPr/>
        </p:nvSpPr>
        <p:spPr>
          <a:xfrm>
            <a:off x="0" y="0"/>
            <a:ext cx="2847278" cy="6857999"/>
          </a:xfrm>
          <a:prstGeom prst="rect">
            <a:avLst/>
          </a:prstGeom>
          <a:gradFill>
            <a:gsLst>
              <a:gs pos="0">
                <a:srgbClr val="049DB4"/>
              </a:gs>
              <a:gs pos="34000">
                <a:srgbClr val="0383BA"/>
              </a:gs>
              <a:gs pos="69000">
                <a:srgbClr val="223F81"/>
              </a:gs>
              <a:gs pos="100000">
                <a:srgbClr val="142139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79BC19-DE5C-BF43-A5D0-CD9D20C7E9DE}"/>
              </a:ext>
            </a:extLst>
          </p:cNvPr>
          <p:cNvSpPr txBox="1">
            <a:spLocks/>
          </p:cNvSpPr>
          <p:nvPr/>
        </p:nvSpPr>
        <p:spPr>
          <a:xfrm>
            <a:off x="131735" y="289931"/>
            <a:ext cx="2715543" cy="24086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</a:rPr>
              <a:t>Target Segments and Monthly Data Feeds available to support your internal campaigns</a:t>
            </a:r>
            <a:endParaRPr lang="en-US" sz="18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8C73648-455B-9C47-BCAB-2475ED040B95}"/>
              </a:ext>
            </a:extLst>
          </p:cNvPr>
          <p:cNvSpPr txBox="1">
            <a:spLocks/>
          </p:cNvSpPr>
          <p:nvPr/>
        </p:nvSpPr>
        <p:spPr>
          <a:xfrm>
            <a:off x="3437288" y="456225"/>
            <a:ext cx="6689125" cy="484610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383BA"/>
              </a:buClr>
            </a:pPr>
            <a:endParaRPr lang="en-US" sz="2000" dirty="0">
              <a:solidFill>
                <a:srgbClr val="142139"/>
              </a:solidFill>
            </a:endParaRPr>
          </a:p>
          <a:p>
            <a:pPr marL="0" indent="0">
              <a:buClr>
                <a:srgbClr val="0383BA"/>
              </a:buClr>
              <a:buNone/>
            </a:pPr>
            <a:r>
              <a:rPr lang="en-US" sz="2400" b="1" dirty="0">
                <a:solidFill>
                  <a:srgbClr val="142139"/>
                </a:solidFill>
              </a:rPr>
              <a:t>Target the right prospects at the right time</a:t>
            </a:r>
          </a:p>
          <a:p>
            <a:pPr>
              <a:buClr>
                <a:srgbClr val="0383BA"/>
              </a:buClr>
            </a:pPr>
            <a:r>
              <a:rPr lang="en-US" sz="2000" dirty="0">
                <a:solidFill>
                  <a:srgbClr val="142139"/>
                </a:solidFill>
              </a:rPr>
              <a:t>New Fleet File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10,000-12,000 newly registered fleets available each month</a:t>
            </a:r>
          </a:p>
          <a:p>
            <a:pPr>
              <a:buClr>
                <a:srgbClr val="0383BA"/>
              </a:buClr>
            </a:pPr>
            <a:r>
              <a:rPr lang="en-US" sz="2000" dirty="0">
                <a:solidFill>
                  <a:srgbClr val="142139"/>
                </a:solidFill>
              </a:rPr>
              <a:t>ELD/EOBR Violations 10,000 per month</a:t>
            </a:r>
          </a:p>
          <a:p>
            <a:pPr>
              <a:buClr>
                <a:srgbClr val="0383BA"/>
              </a:buClr>
            </a:pPr>
            <a:r>
              <a:rPr lang="en-US" sz="2000" dirty="0">
                <a:solidFill>
                  <a:srgbClr val="142139"/>
                </a:solidFill>
              </a:rPr>
              <a:t>Safety Violations and Accidents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10,000+ fleets each month that have had recent safety violations or experienced a significant crash or accident.    </a:t>
            </a:r>
          </a:p>
          <a:p>
            <a:pPr>
              <a:buClr>
                <a:srgbClr val="0383BA"/>
              </a:buClr>
            </a:pPr>
            <a:r>
              <a:rPr lang="en-US" sz="2000" dirty="0">
                <a:solidFill>
                  <a:srgbClr val="142139"/>
                </a:solidFill>
              </a:rPr>
              <a:t>Mechanical Violations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Lighting 5,000 violations per month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Brakes-15,000 per month</a:t>
            </a:r>
            <a:r>
              <a:rPr lang="en-US" sz="1200" dirty="0">
                <a:solidFill>
                  <a:srgbClr val="142139"/>
                </a:solidFill>
              </a:rPr>
              <a:t> 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Cargo related violations  5,000 per month</a:t>
            </a:r>
          </a:p>
          <a:p>
            <a:pPr marL="457200" lvl="1" indent="0">
              <a:buClr>
                <a:srgbClr val="0383BA"/>
              </a:buClr>
              <a:buNone/>
            </a:pPr>
            <a:endParaRPr lang="en-US" sz="400" dirty="0">
              <a:solidFill>
                <a:srgbClr val="142139"/>
              </a:solidFill>
            </a:endParaRPr>
          </a:p>
          <a:p>
            <a:endParaRPr lang="en-US" sz="2000" dirty="0">
              <a:solidFill>
                <a:srgbClr val="142139"/>
              </a:solidFill>
            </a:endParaRPr>
          </a:p>
        </p:txBody>
      </p:sp>
      <p:sp>
        <p:nvSpPr>
          <p:cNvPr id="20" name="Pentagon 19">
            <a:extLst>
              <a:ext uri="{FF2B5EF4-FFF2-40B4-BE49-F238E27FC236}">
                <a16:creationId xmlns:a16="http://schemas.microsoft.com/office/drawing/2014/main" id="{284D2AB0-FBFD-5749-B056-B3A8C7AD0CBE}"/>
              </a:ext>
            </a:extLst>
          </p:cNvPr>
          <p:cNvSpPr/>
          <p:nvPr/>
        </p:nvSpPr>
        <p:spPr>
          <a:xfrm>
            <a:off x="0" y="5758554"/>
            <a:ext cx="5218771" cy="809515"/>
          </a:xfrm>
          <a:prstGeom prst="homePlate">
            <a:avLst/>
          </a:prstGeom>
          <a:solidFill>
            <a:srgbClr val="223F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839920-D52E-884A-BEA1-AF6EA2E2B284}"/>
              </a:ext>
            </a:extLst>
          </p:cNvPr>
          <p:cNvSpPr txBox="1"/>
          <p:nvPr/>
        </p:nvSpPr>
        <p:spPr>
          <a:xfrm>
            <a:off x="109433" y="5832896"/>
            <a:ext cx="51093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Fill your sales pipeline with thousands of qualified sales leads each month!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939858D-9407-3948-85FB-4EBAAD81F668}"/>
              </a:ext>
            </a:extLst>
          </p:cNvPr>
          <p:cNvCxnSpPr>
            <a:cxnSpLocks/>
          </p:cNvCxnSpPr>
          <p:nvPr/>
        </p:nvCxnSpPr>
        <p:spPr>
          <a:xfrm flipH="1">
            <a:off x="10716423" y="6154482"/>
            <a:ext cx="1" cy="454474"/>
          </a:xfrm>
          <a:prstGeom prst="line">
            <a:avLst/>
          </a:prstGeom>
          <a:ln>
            <a:solidFill>
              <a:srgbClr val="142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26734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C25771-3395-2F43-A7A8-4C16E6A6B3E2}"/>
              </a:ext>
            </a:extLst>
          </p:cNvPr>
          <p:cNvSpPr/>
          <p:nvPr/>
        </p:nvSpPr>
        <p:spPr>
          <a:xfrm>
            <a:off x="0" y="0"/>
            <a:ext cx="2847278" cy="6857999"/>
          </a:xfrm>
          <a:prstGeom prst="rect">
            <a:avLst/>
          </a:prstGeom>
          <a:gradFill>
            <a:gsLst>
              <a:gs pos="0">
                <a:srgbClr val="049DB4"/>
              </a:gs>
              <a:gs pos="34000">
                <a:srgbClr val="0383BA"/>
              </a:gs>
              <a:gs pos="69000">
                <a:srgbClr val="223F81"/>
              </a:gs>
              <a:gs pos="100000">
                <a:srgbClr val="142139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79BC19-DE5C-BF43-A5D0-CD9D20C7E9DE}"/>
              </a:ext>
            </a:extLst>
          </p:cNvPr>
          <p:cNvSpPr txBox="1">
            <a:spLocks/>
          </p:cNvSpPr>
          <p:nvPr/>
        </p:nvSpPr>
        <p:spPr>
          <a:xfrm>
            <a:off x="131735" y="289931"/>
            <a:ext cx="2715543" cy="24086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</a:rPr>
              <a:t>Fleet Insight Reports Include</a:t>
            </a:r>
          </a:p>
          <a:p>
            <a:r>
              <a:rPr lang="en-US" sz="1800" dirty="0">
                <a:solidFill>
                  <a:schemeClr val="bg1"/>
                </a:solidFill>
              </a:rPr>
              <a:t>(but are not limited to)</a:t>
            </a:r>
            <a:endParaRPr lang="en-US" sz="18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8C73648-455B-9C47-BCAB-2475ED040B95}"/>
              </a:ext>
            </a:extLst>
          </p:cNvPr>
          <p:cNvSpPr txBox="1">
            <a:spLocks/>
          </p:cNvSpPr>
          <p:nvPr/>
        </p:nvSpPr>
        <p:spPr>
          <a:xfrm>
            <a:off x="3401547" y="456225"/>
            <a:ext cx="6689125" cy="484610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383BA"/>
              </a:buClr>
            </a:pPr>
            <a:r>
              <a:rPr lang="en-US" sz="2000" dirty="0">
                <a:solidFill>
                  <a:srgbClr val="142139"/>
                </a:solidFill>
              </a:rPr>
              <a:t>Contact &amp; company name, address, phone &amp; email</a:t>
            </a:r>
          </a:p>
          <a:p>
            <a:pPr>
              <a:buClr>
                <a:srgbClr val="0383BA"/>
              </a:buClr>
            </a:pPr>
            <a:r>
              <a:rPr lang="en-US" sz="2000" dirty="0">
                <a:solidFill>
                  <a:srgbClr val="142139"/>
                </a:solidFill>
              </a:rPr>
              <a:t>Secondary contact information</a:t>
            </a:r>
          </a:p>
          <a:p>
            <a:pPr>
              <a:buClr>
                <a:srgbClr val="0383BA"/>
              </a:buClr>
            </a:pPr>
            <a:r>
              <a:rPr lang="en-US" sz="2000" dirty="0">
                <a:solidFill>
                  <a:srgbClr val="142139"/>
                </a:solidFill>
              </a:rPr>
              <a:t>Fleet Size</a:t>
            </a:r>
          </a:p>
          <a:p>
            <a:pPr>
              <a:buClr>
                <a:srgbClr val="0383BA"/>
              </a:buClr>
            </a:pPr>
            <a:r>
              <a:rPr lang="en-US" sz="2000" dirty="0">
                <a:solidFill>
                  <a:srgbClr val="142139"/>
                </a:solidFill>
              </a:rPr>
              <a:t>SIC Code</a:t>
            </a:r>
          </a:p>
          <a:p>
            <a:pPr>
              <a:buClr>
                <a:srgbClr val="0383BA"/>
              </a:buClr>
            </a:pPr>
            <a:r>
              <a:rPr lang="en-US" sz="2000" dirty="0">
                <a:solidFill>
                  <a:srgbClr val="142139"/>
                </a:solidFill>
              </a:rPr>
              <a:t>Vehicle Classes</a:t>
            </a:r>
          </a:p>
          <a:p>
            <a:r>
              <a:rPr lang="en-US" sz="2000" dirty="0">
                <a:solidFill>
                  <a:srgbClr val="142139"/>
                </a:solidFill>
              </a:rPr>
              <a:t>Vehicle Brands</a:t>
            </a:r>
          </a:p>
          <a:p>
            <a:endParaRPr lang="en-US" sz="2000" dirty="0">
              <a:solidFill>
                <a:srgbClr val="142139"/>
              </a:solidFill>
            </a:endParaRPr>
          </a:p>
        </p:txBody>
      </p:sp>
      <p:sp>
        <p:nvSpPr>
          <p:cNvPr id="20" name="Pentagon 19">
            <a:extLst>
              <a:ext uri="{FF2B5EF4-FFF2-40B4-BE49-F238E27FC236}">
                <a16:creationId xmlns:a16="http://schemas.microsoft.com/office/drawing/2014/main" id="{284D2AB0-FBFD-5749-B056-B3A8C7AD0CBE}"/>
              </a:ext>
            </a:extLst>
          </p:cNvPr>
          <p:cNvSpPr/>
          <p:nvPr/>
        </p:nvSpPr>
        <p:spPr>
          <a:xfrm>
            <a:off x="0" y="5758554"/>
            <a:ext cx="5218771" cy="809515"/>
          </a:xfrm>
          <a:prstGeom prst="homePlate">
            <a:avLst/>
          </a:prstGeom>
          <a:solidFill>
            <a:srgbClr val="223F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839920-D52E-884A-BEA1-AF6EA2E2B284}"/>
              </a:ext>
            </a:extLst>
          </p:cNvPr>
          <p:cNvSpPr txBox="1"/>
          <p:nvPr/>
        </p:nvSpPr>
        <p:spPr>
          <a:xfrm>
            <a:off x="109433" y="5832896"/>
            <a:ext cx="51093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Fill your sales pipeline with thousands of qualified sales leads each month!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939858D-9407-3948-85FB-4EBAAD81F668}"/>
              </a:ext>
            </a:extLst>
          </p:cNvPr>
          <p:cNvCxnSpPr>
            <a:cxnSpLocks/>
          </p:cNvCxnSpPr>
          <p:nvPr/>
        </p:nvCxnSpPr>
        <p:spPr>
          <a:xfrm flipH="1">
            <a:off x="10716423" y="6154482"/>
            <a:ext cx="1" cy="454474"/>
          </a:xfrm>
          <a:prstGeom prst="line">
            <a:avLst/>
          </a:prstGeom>
          <a:ln>
            <a:solidFill>
              <a:srgbClr val="142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Table&#10;&#10;Description automatically generated">
            <a:extLst>
              <a:ext uri="{FF2B5EF4-FFF2-40B4-BE49-F238E27FC236}">
                <a16:creationId xmlns:a16="http://schemas.microsoft.com/office/drawing/2014/main" id="{89848092-7F49-024C-8EF3-88A2EF2250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702418"/>
            <a:ext cx="5569027" cy="3709639"/>
          </a:xfrm>
          <a:prstGeom prst="rect">
            <a:avLst/>
          </a:prstGeom>
          <a:ln w="25400">
            <a:solidFill>
              <a:srgbClr val="0383BA"/>
            </a:solidFill>
          </a:ln>
        </p:spPr>
      </p:pic>
    </p:spTree>
    <p:extLst>
      <p:ext uri="{BB962C8B-B14F-4D97-AF65-F5344CB8AC3E}">
        <p14:creationId xmlns:p14="http://schemas.microsoft.com/office/powerpoint/2010/main" val="9021244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C25771-3395-2F43-A7A8-4C16E6A6B3E2}"/>
              </a:ext>
            </a:extLst>
          </p:cNvPr>
          <p:cNvSpPr/>
          <p:nvPr/>
        </p:nvSpPr>
        <p:spPr>
          <a:xfrm>
            <a:off x="0" y="0"/>
            <a:ext cx="2847278" cy="6857999"/>
          </a:xfrm>
          <a:prstGeom prst="rect">
            <a:avLst/>
          </a:prstGeom>
          <a:gradFill>
            <a:gsLst>
              <a:gs pos="0">
                <a:srgbClr val="049DB4"/>
              </a:gs>
              <a:gs pos="34000">
                <a:srgbClr val="0383BA"/>
              </a:gs>
              <a:gs pos="69000">
                <a:srgbClr val="223F81"/>
              </a:gs>
              <a:gs pos="100000">
                <a:srgbClr val="142139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79BC19-DE5C-BF43-A5D0-CD9D20C7E9DE}"/>
              </a:ext>
            </a:extLst>
          </p:cNvPr>
          <p:cNvSpPr txBox="1">
            <a:spLocks/>
          </p:cNvSpPr>
          <p:nvPr/>
        </p:nvSpPr>
        <p:spPr>
          <a:xfrm>
            <a:off x="131735" y="289931"/>
            <a:ext cx="2715543" cy="24086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</a:rPr>
              <a:t>Custom prospect lists for your fleet sales team</a:t>
            </a:r>
            <a:endParaRPr lang="en-US" sz="26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8C73648-455B-9C47-BCAB-2475ED040B95}"/>
              </a:ext>
            </a:extLst>
          </p:cNvPr>
          <p:cNvSpPr txBox="1">
            <a:spLocks/>
          </p:cNvSpPr>
          <p:nvPr/>
        </p:nvSpPr>
        <p:spPr>
          <a:xfrm>
            <a:off x="4752026" y="460160"/>
            <a:ext cx="6689125" cy="484610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srgbClr val="0383BA"/>
                </a:solidFill>
              </a:rPr>
              <a:t>Email Marketing Support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/>
              <a:t>We’ll email your content to the right fleets at the right time with our targeted campaigns.   Let us warm up your prospects and convert marketing leads into actionable sales leads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srgbClr val="0383BA"/>
                </a:solidFill>
              </a:rPr>
              <a:t>Nationwide Coverag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142139"/>
                </a:solidFill>
              </a:rPr>
              <a:t>Target marketing qualified leads in your local area and nationwide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srgbClr val="0383BA"/>
                </a:solidFill>
              </a:rPr>
              <a:t>Save time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142139"/>
                </a:solidFill>
              </a:rPr>
              <a:t>No more searching through endless, outdated databases for the right businesses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142139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srgbClr val="0383BA"/>
                </a:solidFill>
              </a:rPr>
              <a:t>No Long-Term Commitment</a:t>
            </a:r>
            <a:r>
              <a:rPr lang="en-US" sz="2000" dirty="0">
                <a:solidFill>
                  <a:srgbClr val="0383BA"/>
                </a:solidFill>
              </a:rPr>
              <a:t>!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142139"/>
                </a:solidFill>
              </a:rPr>
              <a:t>Boost your sales for a short time and revisit whenever you need to fill your sales pipeline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srgbClr val="0383BA"/>
                </a:solidFill>
                <a:cs typeface="Arial"/>
              </a:rPr>
              <a:t>Clean Data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142139"/>
                </a:solidFill>
                <a:cs typeface="Arial"/>
              </a:rPr>
              <a:t>Tested for telephone number accuracy, email &amp; postal deliverability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2000" dirty="0">
              <a:solidFill>
                <a:srgbClr val="142139"/>
              </a:solidFill>
            </a:endParaRPr>
          </a:p>
          <a:p>
            <a:pPr>
              <a:buFont typeface="Wingdings" panose="05000000000000000000" pitchFamily="2" charset="2"/>
              <a:buChar char="ü"/>
            </a:pPr>
            <a:endParaRPr lang="en-US" sz="2000" dirty="0">
              <a:solidFill>
                <a:srgbClr val="142139"/>
              </a:solidFill>
            </a:endParaRPr>
          </a:p>
          <a:p>
            <a:endParaRPr lang="en-US" dirty="0">
              <a:solidFill>
                <a:srgbClr val="142139"/>
              </a:solidFill>
            </a:endParaRPr>
          </a:p>
        </p:txBody>
      </p:sp>
      <p:sp>
        <p:nvSpPr>
          <p:cNvPr id="20" name="Pentagon 19">
            <a:extLst>
              <a:ext uri="{FF2B5EF4-FFF2-40B4-BE49-F238E27FC236}">
                <a16:creationId xmlns:a16="http://schemas.microsoft.com/office/drawing/2014/main" id="{284D2AB0-FBFD-5749-B056-B3A8C7AD0CBE}"/>
              </a:ext>
            </a:extLst>
          </p:cNvPr>
          <p:cNvSpPr/>
          <p:nvPr/>
        </p:nvSpPr>
        <p:spPr>
          <a:xfrm>
            <a:off x="0" y="5758554"/>
            <a:ext cx="5218771" cy="809515"/>
          </a:xfrm>
          <a:prstGeom prst="homePlate">
            <a:avLst/>
          </a:prstGeom>
          <a:solidFill>
            <a:srgbClr val="223F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839920-D52E-884A-BEA1-AF6EA2E2B284}"/>
              </a:ext>
            </a:extLst>
          </p:cNvPr>
          <p:cNvSpPr txBox="1"/>
          <p:nvPr/>
        </p:nvSpPr>
        <p:spPr>
          <a:xfrm>
            <a:off x="109433" y="5832896"/>
            <a:ext cx="51093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Fill your sales pipeline with thousands of qualified sales leads each month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74352F-8ED3-1143-B4C6-46D9623150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1749" y="2768310"/>
            <a:ext cx="912042" cy="91204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B7572F0-3EC5-D449-89A2-8B658BEABA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3382" y="3934853"/>
            <a:ext cx="1127656" cy="9762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6EF886A-688C-AE41-9F37-6A1C7204D6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9408" y="423499"/>
            <a:ext cx="1576694" cy="8264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F2717BA-B9D1-D14A-B0F5-D0FE698F40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46389" y="1560308"/>
            <a:ext cx="982762" cy="912042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4DB1648-BE63-3B4D-9197-32C5A6789141}"/>
              </a:ext>
            </a:extLst>
          </p:cNvPr>
          <p:cNvCxnSpPr>
            <a:cxnSpLocks/>
          </p:cNvCxnSpPr>
          <p:nvPr/>
        </p:nvCxnSpPr>
        <p:spPr>
          <a:xfrm flipH="1">
            <a:off x="10716423" y="6154482"/>
            <a:ext cx="1" cy="454474"/>
          </a:xfrm>
          <a:prstGeom prst="line">
            <a:avLst/>
          </a:prstGeom>
          <a:ln>
            <a:solidFill>
              <a:srgbClr val="142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15974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D4805AC-8C56-CF4B-AC25-6EFB1C550348}"/>
              </a:ext>
            </a:extLst>
          </p:cNvPr>
          <p:cNvSpPr/>
          <p:nvPr/>
        </p:nvSpPr>
        <p:spPr>
          <a:xfrm>
            <a:off x="0" y="-1"/>
            <a:ext cx="12192000" cy="6857999"/>
          </a:xfrm>
          <a:prstGeom prst="rect">
            <a:avLst/>
          </a:prstGeom>
          <a:gradFill>
            <a:gsLst>
              <a:gs pos="0">
                <a:srgbClr val="049DB4"/>
              </a:gs>
              <a:gs pos="34000">
                <a:srgbClr val="0383BA"/>
              </a:gs>
              <a:gs pos="69000">
                <a:srgbClr val="223F81"/>
              </a:gs>
              <a:gs pos="100000">
                <a:srgbClr val="142139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Box 8">
            <a:extLst>
              <a:ext uri="{FF2B5EF4-FFF2-40B4-BE49-F238E27FC236}">
                <a16:creationId xmlns:a16="http://schemas.microsoft.com/office/drawing/2014/main" id="{1955B9BA-530E-D645-B5B1-CE605ED878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273224"/>
            <a:ext cx="8696230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9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eet Insights provides fleet and owner contacts from multiple sources including our proprietary database. </a:t>
            </a:r>
            <a:endParaRPr kumimoji="0" lang="en-US" altLang="en-US" sz="900" b="0" i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Recordable accidents include accidents that involve an injury, a fatality, or required a tow away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kumimoji="0" lang="en-US" altLang="en-US" sz="9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9817E32-B6BF-CD40-AE40-456BE49DD676}"/>
              </a:ext>
            </a:extLst>
          </p:cNvPr>
          <p:cNvSpPr/>
          <p:nvPr/>
        </p:nvSpPr>
        <p:spPr>
          <a:xfrm>
            <a:off x="0" y="2"/>
            <a:ext cx="12192000" cy="1337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A452F6-5138-E948-8EC2-EF0BBA499D3A}"/>
              </a:ext>
            </a:extLst>
          </p:cNvPr>
          <p:cNvSpPr txBox="1">
            <a:spLocks/>
          </p:cNvSpPr>
          <p:nvPr/>
        </p:nvSpPr>
        <p:spPr>
          <a:xfrm>
            <a:off x="2924197" y="291994"/>
            <a:ext cx="8705939" cy="9900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223F81"/>
                </a:solidFill>
                <a:cs typeface="Arial"/>
              </a:rPr>
              <a:t>Fleet Insights reports provide fleet and owner contact information from multiple sources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5726D35-5638-7140-B201-F3692FE9EF0A}"/>
              </a:ext>
            </a:extLst>
          </p:cNvPr>
          <p:cNvSpPr/>
          <p:nvPr/>
        </p:nvSpPr>
        <p:spPr>
          <a:xfrm>
            <a:off x="561864" y="204946"/>
            <a:ext cx="2341758" cy="2341758"/>
          </a:xfrm>
          <a:prstGeom prst="ellipse">
            <a:avLst/>
          </a:prstGeom>
          <a:solidFill>
            <a:srgbClr val="049D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4A4C7-8B73-0147-9C80-6B1AE1F70C1C}"/>
              </a:ext>
            </a:extLst>
          </p:cNvPr>
          <p:cNvSpPr txBox="1"/>
          <p:nvPr/>
        </p:nvSpPr>
        <p:spPr>
          <a:xfrm>
            <a:off x="2903622" y="1705514"/>
            <a:ext cx="492939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solidFill>
                  <a:schemeClr val="bg1"/>
                </a:solidFill>
              </a:rPr>
              <a:t>FLEET DEMOGRAPHICS</a:t>
            </a:r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E1455B78-3DEC-D34C-8C89-D3A1FFC4C624}"/>
              </a:ext>
            </a:extLst>
          </p:cNvPr>
          <p:cNvSpPr/>
          <p:nvPr/>
        </p:nvSpPr>
        <p:spPr>
          <a:xfrm rot="10800000">
            <a:off x="3162950" y="1091932"/>
            <a:ext cx="890620" cy="567784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28CF1C-7EC4-6F4C-BE77-32D660A0CD04}"/>
              </a:ext>
            </a:extLst>
          </p:cNvPr>
          <p:cNvSpPr txBox="1"/>
          <p:nvPr/>
        </p:nvSpPr>
        <p:spPr>
          <a:xfrm>
            <a:off x="602369" y="3722827"/>
            <a:ext cx="2194560" cy="738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Vehicle Typ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3E1C55-3961-EE45-A1DC-BA2FDDE6E640}"/>
              </a:ext>
            </a:extLst>
          </p:cNvPr>
          <p:cNvSpPr txBox="1"/>
          <p:nvPr/>
        </p:nvSpPr>
        <p:spPr>
          <a:xfrm>
            <a:off x="3448388" y="3722827"/>
            <a:ext cx="2194560" cy="738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Vehicle brands in oper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47E23A4-B9D6-0245-B8ED-59F59A0678FF}"/>
              </a:ext>
            </a:extLst>
          </p:cNvPr>
          <p:cNvSpPr txBox="1"/>
          <p:nvPr/>
        </p:nvSpPr>
        <p:spPr>
          <a:xfrm>
            <a:off x="6294407" y="3722827"/>
            <a:ext cx="2194560" cy="646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Engine Types and Alternative Fuel Us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F9A9A8-C7C1-8646-A2EA-78FB8CF1BF39}"/>
              </a:ext>
            </a:extLst>
          </p:cNvPr>
          <p:cNvSpPr txBox="1"/>
          <p:nvPr/>
        </p:nvSpPr>
        <p:spPr>
          <a:xfrm>
            <a:off x="9140426" y="3722827"/>
            <a:ext cx="2194560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Geographic Locati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E9571FC-49F4-2549-8AA6-51F95509428E}"/>
              </a:ext>
            </a:extLst>
          </p:cNvPr>
          <p:cNvSpPr txBox="1"/>
          <p:nvPr/>
        </p:nvSpPr>
        <p:spPr>
          <a:xfrm>
            <a:off x="602369" y="5655902"/>
            <a:ext cx="2194560" cy="4616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SIC Cod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086DFD5-9C93-914B-84C1-80CFE6E61C9A}"/>
              </a:ext>
            </a:extLst>
          </p:cNvPr>
          <p:cNvSpPr txBox="1"/>
          <p:nvPr/>
        </p:nvSpPr>
        <p:spPr>
          <a:xfrm>
            <a:off x="3448388" y="5655902"/>
            <a:ext cx="2194560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Fleet Siz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CF789E-31AC-6241-B7C5-96080FD26CD2}"/>
              </a:ext>
            </a:extLst>
          </p:cNvPr>
          <p:cNvSpPr txBox="1"/>
          <p:nvPr/>
        </p:nvSpPr>
        <p:spPr>
          <a:xfrm>
            <a:off x="6294407" y="5655902"/>
            <a:ext cx="2194560" cy="646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Fuel typ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A22C80F-3E12-5A47-9155-4998A5EED85F}"/>
              </a:ext>
            </a:extLst>
          </p:cNvPr>
          <p:cNvSpPr txBox="1"/>
          <p:nvPr/>
        </p:nvSpPr>
        <p:spPr>
          <a:xfrm>
            <a:off x="9140426" y="5655902"/>
            <a:ext cx="2194560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83645BD3-8C56-EA4D-A5A6-141B30A5BD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9038" y="599012"/>
            <a:ext cx="1558433" cy="147667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A073829-641A-4544-B069-8C09B5BA95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439" y="2741102"/>
            <a:ext cx="2341758" cy="90794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0CEBCA8C-4AE5-B744-8DA0-7667060E3E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9155" y="2702361"/>
            <a:ext cx="2633756" cy="95561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A99D318A-C265-C24B-9104-AD5B60C64D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98485" y="2892605"/>
            <a:ext cx="2002100" cy="752514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E60B147F-B4EB-9C48-A8B4-1AFA29A1DF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78382" y="2546704"/>
            <a:ext cx="835821" cy="105275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BF5C66F0-5C15-C340-841A-9D182BF1E1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83234" y="4593018"/>
            <a:ext cx="741842" cy="942758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6E48273-28F7-D84B-9E17-02D0C588343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65390" y="4635255"/>
            <a:ext cx="960556" cy="900521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73D3E73B-4F6E-864D-82C4-A2074900648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66260" y="4622583"/>
            <a:ext cx="815080" cy="955611"/>
          </a:xfrm>
          <a:prstGeom prst="rect">
            <a:avLst/>
          </a:prstGeom>
        </p:spPr>
      </p:pic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9501514-DB23-6241-BD85-BB49E8EA1D95}"/>
              </a:ext>
            </a:extLst>
          </p:cNvPr>
          <p:cNvCxnSpPr>
            <a:cxnSpLocks/>
          </p:cNvCxnSpPr>
          <p:nvPr/>
        </p:nvCxnSpPr>
        <p:spPr>
          <a:xfrm flipH="1">
            <a:off x="10716423" y="6154482"/>
            <a:ext cx="1" cy="45447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86228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C25771-3395-2F43-A7A8-4C16E6A6B3E2}"/>
              </a:ext>
            </a:extLst>
          </p:cNvPr>
          <p:cNvSpPr/>
          <p:nvPr/>
        </p:nvSpPr>
        <p:spPr>
          <a:xfrm>
            <a:off x="-62144" y="0"/>
            <a:ext cx="2847278" cy="6857999"/>
          </a:xfrm>
          <a:prstGeom prst="rect">
            <a:avLst/>
          </a:prstGeom>
          <a:gradFill>
            <a:gsLst>
              <a:gs pos="0">
                <a:srgbClr val="049DB4"/>
              </a:gs>
              <a:gs pos="34000">
                <a:srgbClr val="0383BA"/>
              </a:gs>
              <a:gs pos="69000">
                <a:srgbClr val="223F81"/>
              </a:gs>
              <a:gs pos="100000">
                <a:srgbClr val="142139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79BC19-DE5C-BF43-A5D0-CD9D20C7E9DE}"/>
              </a:ext>
            </a:extLst>
          </p:cNvPr>
          <p:cNvSpPr txBox="1">
            <a:spLocks/>
          </p:cNvSpPr>
          <p:nvPr/>
        </p:nvSpPr>
        <p:spPr>
          <a:xfrm>
            <a:off x="131735" y="289931"/>
            <a:ext cx="2715543" cy="24086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chemeClr val="bg1"/>
                </a:solidFill>
              </a:rPr>
              <a:t>Fleet-Connection</a:t>
            </a:r>
          </a:p>
          <a:p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b="1" dirty="0">
                <a:solidFill>
                  <a:schemeClr val="bg1"/>
                </a:solidFill>
                <a:cs typeface="Arial"/>
              </a:rPr>
              <a:t>Target fleets that are likely in-market for Used Trucks</a:t>
            </a:r>
            <a:endParaRPr lang="en-US" sz="18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8C73648-455B-9C47-BCAB-2475ED040B95}"/>
              </a:ext>
            </a:extLst>
          </p:cNvPr>
          <p:cNvSpPr txBox="1">
            <a:spLocks/>
          </p:cNvSpPr>
          <p:nvPr/>
        </p:nvSpPr>
        <p:spPr>
          <a:xfrm>
            <a:off x="3437288" y="456224"/>
            <a:ext cx="6689125" cy="569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383BA"/>
              </a:buClr>
            </a:pPr>
            <a:r>
              <a:rPr lang="en-US" sz="3600" b="1" dirty="0">
                <a:solidFill>
                  <a:srgbClr val="142139"/>
                </a:solidFill>
              </a:rPr>
              <a:t>Fleet-Connection</a:t>
            </a:r>
          </a:p>
          <a:p>
            <a:pPr marL="0" indent="0">
              <a:buClr>
                <a:srgbClr val="0383BA"/>
              </a:buClr>
              <a:buNone/>
            </a:pPr>
            <a:r>
              <a:rPr lang="en-US" sz="2000" b="1" dirty="0">
                <a:solidFill>
                  <a:srgbClr val="142139"/>
                </a:solidFill>
              </a:rPr>
              <a:t>Fleet Prospecting Solution for Used Equipment Dealers and Suppliers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Target fleets with the right fleet demographics for your used equipment messaging.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Over 10 million VINS.  Target fleets based on current fleet composition to find likely buyers.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Target Fleets that have had recent significant accidents or major mechanical issues that are likely in-market for replacement inventory.</a:t>
            </a:r>
            <a:endParaRPr lang="en-US" sz="1200" dirty="0">
              <a:solidFill>
                <a:srgbClr val="142139"/>
              </a:solidFill>
            </a:endParaRP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Target prospects by fleet size, SIC code, fuel types in operation, or GVW.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In-Depth firmographic and demographic detail available including addresses, phone numbers, email addresses, revenue, number of employees, along with full VIN level data on fleets.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Email marketing support also available if you want the Fleet-Connection team to produce and manage your lead gen campaigns</a:t>
            </a:r>
          </a:p>
          <a:p>
            <a:endParaRPr lang="en-US" sz="2000" dirty="0">
              <a:solidFill>
                <a:srgbClr val="142139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839920-D52E-884A-BEA1-AF6EA2E2B284}"/>
              </a:ext>
            </a:extLst>
          </p:cNvPr>
          <p:cNvSpPr txBox="1"/>
          <p:nvPr/>
        </p:nvSpPr>
        <p:spPr>
          <a:xfrm>
            <a:off x="131735" y="4442727"/>
            <a:ext cx="236591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Fill your sales pipeline with thousands of qualified sales leads each month!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939858D-9407-3948-85FB-4EBAAD81F668}"/>
              </a:ext>
            </a:extLst>
          </p:cNvPr>
          <p:cNvCxnSpPr>
            <a:cxnSpLocks/>
          </p:cNvCxnSpPr>
          <p:nvPr/>
        </p:nvCxnSpPr>
        <p:spPr>
          <a:xfrm flipH="1">
            <a:off x="10716423" y="6154482"/>
            <a:ext cx="1" cy="454474"/>
          </a:xfrm>
          <a:prstGeom prst="line">
            <a:avLst/>
          </a:prstGeom>
          <a:ln>
            <a:solidFill>
              <a:srgbClr val="142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4993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C25771-3395-2F43-A7A8-4C16E6A6B3E2}"/>
              </a:ext>
            </a:extLst>
          </p:cNvPr>
          <p:cNvSpPr/>
          <p:nvPr/>
        </p:nvSpPr>
        <p:spPr>
          <a:xfrm>
            <a:off x="-62144" y="0"/>
            <a:ext cx="2847278" cy="6857999"/>
          </a:xfrm>
          <a:prstGeom prst="rect">
            <a:avLst/>
          </a:prstGeom>
          <a:gradFill>
            <a:gsLst>
              <a:gs pos="0">
                <a:srgbClr val="049DB4"/>
              </a:gs>
              <a:gs pos="34000">
                <a:srgbClr val="0383BA"/>
              </a:gs>
              <a:gs pos="69000">
                <a:srgbClr val="223F81"/>
              </a:gs>
              <a:gs pos="100000">
                <a:srgbClr val="142139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79BC19-DE5C-BF43-A5D0-CD9D20C7E9DE}"/>
              </a:ext>
            </a:extLst>
          </p:cNvPr>
          <p:cNvSpPr txBox="1">
            <a:spLocks/>
          </p:cNvSpPr>
          <p:nvPr/>
        </p:nvSpPr>
        <p:spPr>
          <a:xfrm>
            <a:off x="131735" y="289931"/>
            <a:ext cx="2715543" cy="24086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chemeClr val="bg1"/>
                </a:solidFill>
              </a:rPr>
              <a:t>Trailer-Connection</a:t>
            </a:r>
          </a:p>
          <a:p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b="1" dirty="0">
                <a:solidFill>
                  <a:schemeClr val="bg1"/>
                </a:solidFill>
                <a:cs typeface="Arial"/>
              </a:rPr>
              <a:t>Target fleets with trailers </a:t>
            </a:r>
            <a:endParaRPr lang="en-US" sz="18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8C73648-455B-9C47-BCAB-2475ED040B95}"/>
              </a:ext>
            </a:extLst>
          </p:cNvPr>
          <p:cNvSpPr txBox="1">
            <a:spLocks/>
          </p:cNvSpPr>
          <p:nvPr/>
        </p:nvSpPr>
        <p:spPr>
          <a:xfrm>
            <a:off x="3437288" y="456224"/>
            <a:ext cx="6689125" cy="569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383BA"/>
              </a:buClr>
            </a:pPr>
            <a:r>
              <a:rPr lang="en-US" sz="3600" b="1" dirty="0">
                <a:solidFill>
                  <a:srgbClr val="142139"/>
                </a:solidFill>
              </a:rPr>
              <a:t>Trailer-Connection</a:t>
            </a:r>
          </a:p>
          <a:p>
            <a:pPr marL="0" indent="0">
              <a:buClr>
                <a:srgbClr val="0383BA"/>
              </a:buClr>
              <a:buNone/>
            </a:pPr>
            <a:r>
              <a:rPr lang="en-US" sz="2000" b="1" dirty="0">
                <a:solidFill>
                  <a:srgbClr val="142139"/>
                </a:solidFill>
              </a:rPr>
              <a:t>Fleet Prospecting Solution for trailer manufacturers, distributors, and dealers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800,000 fleets with over 4 million trailers in operation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12,000 HAZMAT Fleets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20,000 Reefer Trailer Operators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Target by brands of trailer in operation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Utility, Stoughton, East, Great Date, Wabash, Fontaine, Hyundai, Polar Tank</a:t>
            </a:r>
          </a:p>
          <a:p>
            <a:pPr lvl="2">
              <a:buClr>
                <a:srgbClr val="0383BA"/>
              </a:buClr>
            </a:pPr>
            <a:endParaRPr lang="en-US" sz="1200" dirty="0">
              <a:solidFill>
                <a:srgbClr val="142139"/>
              </a:solidFill>
            </a:endParaRP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Target by trailer types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Dry Box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Reefer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Flat Bed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Tanker</a:t>
            </a:r>
          </a:p>
          <a:p>
            <a:pPr lvl="2">
              <a:buClr>
                <a:srgbClr val="0383BA"/>
              </a:buClr>
            </a:pPr>
            <a:endParaRPr lang="en-US" sz="1200" dirty="0">
              <a:solidFill>
                <a:srgbClr val="142139"/>
              </a:solidFill>
            </a:endParaRP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Target prospects by fleet size, SIC code, fuel types in operation, or GVW.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In-Depth firmographic and demographic detail available including addresses, phone numbers, email addresses, revenue, number of employees, along with full VIN level data on fleets.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Email marketing support also available if you want the Fleet-Connection team to produce and manage your lead gen campaigns</a:t>
            </a:r>
          </a:p>
          <a:p>
            <a:endParaRPr lang="en-US" sz="2000" dirty="0">
              <a:solidFill>
                <a:srgbClr val="142139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839920-D52E-884A-BEA1-AF6EA2E2B284}"/>
              </a:ext>
            </a:extLst>
          </p:cNvPr>
          <p:cNvSpPr txBox="1"/>
          <p:nvPr/>
        </p:nvSpPr>
        <p:spPr>
          <a:xfrm>
            <a:off x="131735" y="4442727"/>
            <a:ext cx="236591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Fill your sales pipeline with thousands of qualified sales leads each month!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939858D-9407-3948-85FB-4EBAAD81F668}"/>
              </a:ext>
            </a:extLst>
          </p:cNvPr>
          <p:cNvCxnSpPr>
            <a:cxnSpLocks/>
          </p:cNvCxnSpPr>
          <p:nvPr/>
        </p:nvCxnSpPr>
        <p:spPr>
          <a:xfrm flipH="1">
            <a:off x="10716423" y="6154482"/>
            <a:ext cx="1" cy="454474"/>
          </a:xfrm>
          <a:prstGeom prst="line">
            <a:avLst/>
          </a:prstGeom>
          <a:ln>
            <a:solidFill>
              <a:srgbClr val="142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15284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C25771-3395-2F43-A7A8-4C16E6A6B3E2}"/>
              </a:ext>
            </a:extLst>
          </p:cNvPr>
          <p:cNvSpPr/>
          <p:nvPr/>
        </p:nvSpPr>
        <p:spPr>
          <a:xfrm>
            <a:off x="0" y="0"/>
            <a:ext cx="2847278" cy="6857999"/>
          </a:xfrm>
          <a:prstGeom prst="rect">
            <a:avLst/>
          </a:prstGeom>
          <a:gradFill>
            <a:gsLst>
              <a:gs pos="0">
                <a:srgbClr val="049DB4"/>
              </a:gs>
              <a:gs pos="34000">
                <a:srgbClr val="0383BA"/>
              </a:gs>
              <a:gs pos="69000">
                <a:srgbClr val="223F81"/>
              </a:gs>
              <a:gs pos="100000">
                <a:srgbClr val="142139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79BC19-DE5C-BF43-A5D0-CD9D20C7E9DE}"/>
              </a:ext>
            </a:extLst>
          </p:cNvPr>
          <p:cNvSpPr txBox="1">
            <a:spLocks/>
          </p:cNvSpPr>
          <p:nvPr/>
        </p:nvSpPr>
        <p:spPr>
          <a:xfrm>
            <a:off x="131735" y="289931"/>
            <a:ext cx="2715543" cy="24086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</a:rPr>
              <a:t>Target Segments and Monthly Data Feeds available to support your internal campaigns</a:t>
            </a:r>
            <a:endParaRPr lang="en-US" sz="18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8C73648-455B-9C47-BCAB-2475ED040B95}"/>
              </a:ext>
            </a:extLst>
          </p:cNvPr>
          <p:cNvSpPr txBox="1">
            <a:spLocks/>
          </p:cNvSpPr>
          <p:nvPr/>
        </p:nvSpPr>
        <p:spPr>
          <a:xfrm>
            <a:off x="3437288" y="456224"/>
            <a:ext cx="6689125" cy="569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383BA"/>
              </a:buClr>
            </a:pPr>
            <a:endParaRPr lang="en-US" sz="2000" dirty="0">
              <a:solidFill>
                <a:srgbClr val="142139"/>
              </a:solidFill>
            </a:endParaRPr>
          </a:p>
          <a:p>
            <a:pPr marL="0" indent="0">
              <a:buClr>
                <a:srgbClr val="0383BA"/>
              </a:buClr>
              <a:buNone/>
            </a:pPr>
            <a:r>
              <a:rPr lang="en-US" sz="2400" b="1" dirty="0">
                <a:solidFill>
                  <a:srgbClr val="142139"/>
                </a:solidFill>
              </a:rPr>
              <a:t>Target the right prospects at the right time</a:t>
            </a:r>
          </a:p>
          <a:p>
            <a:pPr>
              <a:buClr>
                <a:srgbClr val="0383BA"/>
              </a:buClr>
            </a:pPr>
            <a:r>
              <a:rPr lang="en-US" sz="2000" dirty="0">
                <a:solidFill>
                  <a:schemeClr val="accent1"/>
                </a:solidFill>
              </a:rPr>
              <a:t>SMB Fleet File  200,000 Companies</a:t>
            </a:r>
          </a:p>
          <a:p>
            <a:pPr lvl="1">
              <a:buClr>
                <a:srgbClr val="0383BA"/>
              </a:buClr>
            </a:pPr>
            <a:r>
              <a:rPr lang="en-US" sz="1800" dirty="0">
                <a:solidFill>
                  <a:srgbClr val="142139"/>
                </a:solidFill>
              </a:rPr>
              <a:t>$40,000 with quarterly updates for $10,000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200,000 verified small and midsize businesses and public entities with fleets of 10-500 units in operation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350,000 verified email addresses with addresses and phone numbers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Complete firmographic and demographic details on each fleet including VINS, number of employees, revenue, SIC and NAICS code categories, and location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2 year history of all inspection/violation/accident data</a:t>
            </a:r>
          </a:p>
          <a:p>
            <a:pPr>
              <a:buClr>
                <a:srgbClr val="0383BA"/>
              </a:buClr>
            </a:pPr>
            <a:r>
              <a:rPr lang="en-US" sz="2000" dirty="0">
                <a:solidFill>
                  <a:srgbClr val="142139"/>
                </a:solidFill>
              </a:rPr>
              <a:t>Small Fleet File 800,000 Companies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$20,000 with quarterly updates for $5,000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800,000 verified small fleets and owner operators with 1-9 units in operation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Over 1 million email addresses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VIN level detail available for all registered DOT fleets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2 year history of all inspection/violation/accident data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Limited SIC/NAICS or firmographic detail</a:t>
            </a:r>
          </a:p>
          <a:p>
            <a:pPr lvl="1">
              <a:buClr>
                <a:srgbClr val="0383BA"/>
              </a:buClr>
            </a:pPr>
            <a:endParaRPr lang="en-US" sz="1600" dirty="0">
              <a:solidFill>
                <a:srgbClr val="142139"/>
              </a:solidFill>
            </a:endParaRPr>
          </a:p>
          <a:p>
            <a:endParaRPr lang="en-US" sz="2000" dirty="0">
              <a:solidFill>
                <a:srgbClr val="142139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839920-D52E-884A-BEA1-AF6EA2E2B284}"/>
              </a:ext>
            </a:extLst>
          </p:cNvPr>
          <p:cNvSpPr txBox="1"/>
          <p:nvPr/>
        </p:nvSpPr>
        <p:spPr>
          <a:xfrm>
            <a:off x="131735" y="4442727"/>
            <a:ext cx="236591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Fill your sales pipeline with thousands of qualified sales leads each month!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939858D-9407-3948-85FB-4EBAAD81F668}"/>
              </a:ext>
            </a:extLst>
          </p:cNvPr>
          <p:cNvCxnSpPr>
            <a:cxnSpLocks/>
          </p:cNvCxnSpPr>
          <p:nvPr/>
        </p:nvCxnSpPr>
        <p:spPr>
          <a:xfrm flipH="1">
            <a:off x="10716423" y="6154482"/>
            <a:ext cx="1" cy="454474"/>
          </a:xfrm>
          <a:prstGeom prst="line">
            <a:avLst/>
          </a:prstGeom>
          <a:ln>
            <a:solidFill>
              <a:srgbClr val="142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20992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C25771-3395-2F43-A7A8-4C16E6A6B3E2}"/>
              </a:ext>
            </a:extLst>
          </p:cNvPr>
          <p:cNvSpPr/>
          <p:nvPr/>
        </p:nvSpPr>
        <p:spPr>
          <a:xfrm>
            <a:off x="-62144" y="0"/>
            <a:ext cx="2847278" cy="6857999"/>
          </a:xfrm>
          <a:prstGeom prst="rect">
            <a:avLst/>
          </a:prstGeom>
          <a:gradFill>
            <a:gsLst>
              <a:gs pos="0">
                <a:srgbClr val="049DB4"/>
              </a:gs>
              <a:gs pos="34000">
                <a:srgbClr val="0383BA"/>
              </a:gs>
              <a:gs pos="69000">
                <a:srgbClr val="223F81"/>
              </a:gs>
              <a:gs pos="100000">
                <a:srgbClr val="142139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79BC19-DE5C-BF43-A5D0-CD9D20C7E9DE}"/>
              </a:ext>
            </a:extLst>
          </p:cNvPr>
          <p:cNvSpPr txBox="1">
            <a:spLocks/>
          </p:cNvSpPr>
          <p:nvPr/>
        </p:nvSpPr>
        <p:spPr>
          <a:xfrm>
            <a:off x="131735" y="289931"/>
            <a:ext cx="2715543" cy="24086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chemeClr val="bg1"/>
                </a:solidFill>
              </a:rPr>
              <a:t>Safety-Connection</a:t>
            </a:r>
          </a:p>
          <a:p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b="1" dirty="0">
                <a:solidFill>
                  <a:schemeClr val="bg1"/>
                </a:solidFill>
                <a:cs typeface="Arial"/>
              </a:rPr>
              <a:t>Target fleets with recent accidents and safety violations</a:t>
            </a:r>
            <a:endParaRPr lang="en-US" sz="18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8C73648-455B-9C47-BCAB-2475ED040B95}"/>
              </a:ext>
            </a:extLst>
          </p:cNvPr>
          <p:cNvSpPr txBox="1">
            <a:spLocks/>
          </p:cNvSpPr>
          <p:nvPr/>
        </p:nvSpPr>
        <p:spPr>
          <a:xfrm>
            <a:off x="3437288" y="456224"/>
            <a:ext cx="6689125" cy="569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383BA"/>
              </a:buClr>
            </a:pPr>
            <a:r>
              <a:rPr lang="en-US" sz="3600" b="1" dirty="0">
                <a:solidFill>
                  <a:srgbClr val="142139"/>
                </a:solidFill>
              </a:rPr>
              <a:t>Safety-Connection</a:t>
            </a:r>
          </a:p>
          <a:p>
            <a:pPr marL="0" indent="0">
              <a:buClr>
                <a:srgbClr val="0383BA"/>
              </a:buClr>
              <a:buNone/>
            </a:pPr>
            <a:r>
              <a:rPr lang="en-US" sz="2000" b="1" dirty="0">
                <a:solidFill>
                  <a:srgbClr val="142139"/>
                </a:solidFill>
              </a:rPr>
              <a:t>Fleet Prospecting Solution for Fleet Safety Suppliers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Target fleets with recent accidents and safety violations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12,000 Fleets/month with reportable accidents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20,000 Fleets/month with significant safety violations </a:t>
            </a:r>
          </a:p>
          <a:p>
            <a:pPr lvl="3">
              <a:buClr>
                <a:srgbClr val="0383BA"/>
              </a:buClr>
            </a:pPr>
            <a:r>
              <a:rPr lang="en-US" sz="1000" dirty="0">
                <a:solidFill>
                  <a:srgbClr val="142139"/>
                </a:solidFill>
              </a:rPr>
              <a:t>Speeding</a:t>
            </a:r>
          </a:p>
          <a:p>
            <a:pPr lvl="3">
              <a:buClr>
                <a:srgbClr val="0383BA"/>
              </a:buClr>
            </a:pPr>
            <a:r>
              <a:rPr lang="en-US" sz="1000" dirty="0">
                <a:solidFill>
                  <a:srgbClr val="142139"/>
                </a:solidFill>
              </a:rPr>
              <a:t>ELD/EOBR violations</a:t>
            </a:r>
          </a:p>
          <a:p>
            <a:pPr lvl="3">
              <a:buClr>
                <a:srgbClr val="0383BA"/>
              </a:buClr>
            </a:pPr>
            <a:r>
              <a:rPr lang="en-US" sz="1000" dirty="0">
                <a:solidFill>
                  <a:srgbClr val="142139"/>
                </a:solidFill>
              </a:rPr>
              <a:t>Tires</a:t>
            </a:r>
          </a:p>
          <a:p>
            <a:pPr lvl="3">
              <a:buClr>
                <a:srgbClr val="0383BA"/>
              </a:buClr>
            </a:pPr>
            <a:r>
              <a:rPr lang="en-US" sz="1000" dirty="0">
                <a:solidFill>
                  <a:srgbClr val="142139"/>
                </a:solidFill>
              </a:rPr>
              <a:t>Lighting</a:t>
            </a:r>
          </a:p>
          <a:p>
            <a:pPr lvl="3">
              <a:buClr>
                <a:srgbClr val="0383BA"/>
              </a:buClr>
            </a:pPr>
            <a:r>
              <a:rPr lang="en-US" sz="1000" dirty="0">
                <a:solidFill>
                  <a:srgbClr val="142139"/>
                </a:solidFill>
              </a:rPr>
              <a:t>Cargo Securement</a:t>
            </a:r>
          </a:p>
          <a:p>
            <a:pPr lvl="2">
              <a:buClr>
                <a:srgbClr val="0383BA"/>
              </a:buClr>
            </a:pPr>
            <a:endParaRPr lang="en-US" sz="1200" dirty="0">
              <a:solidFill>
                <a:srgbClr val="142139"/>
              </a:solidFill>
            </a:endParaRP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Target prospects by fleet size, SIC code, fuel types in operation, or GVW.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In-Depth firmographic and demographic detail available including addresses, phone numbers, email addresses, revenue, number of employees, along with full VIN level data on fleets.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Email marketing support also available if you want the Fleet-Connection team to produce and manage your lead gen campaigns</a:t>
            </a:r>
          </a:p>
          <a:p>
            <a:endParaRPr lang="en-US" sz="2000" dirty="0">
              <a:solidFill>
                <a:srgbClr val="142139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839920-D52E-884A-BEA1-AF6EA2E2B284}"/>
              </a:ext>
            </a:extLst>
          </p:cNvPr>
          <p:cNvSpPr txBox="1"/>
          <p:nvPr/>
        </p:nvSpPr>
        <p:spPr>
          <a:xfrm>
            <a:off x="131735" y="4442727"/>
            <a:ext cx="236591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Fill your sales pipeline with thousands of qualified sales leads each month!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939858D-9407-3948-85FB-4EBAAD81F668}"/>
              </a:ext>
            </a:extLst>
          </p:cNvPr>
          <p:cNvCxnSpPr>
            <a:cxnSpLocks/>
          </p:cNvCxnSpPr>
          <p:nvPr/>
        </p:nvCxnSpPr>
        <p:spPr>
          <a:xfrm flipH="1">
            <a:off x="10716423" y="6154482"/>
            <a:ext cx="1" cy="454474"/>
          </a:xfrm>
          <a:prstGeom prst="line">
            <a:avLst/>
          </a:prstGeom>
          <a:ln>
            <a:solidFill>
              <a:srgbClr val="142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41222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C25771-3395-2F43-A7A8-4C16E6A6B3E2}"/>
              </a:ext>
            </a:extLst>
          </p:cNvPr>
          <p:cNvSpPr/>
          <p:nvPr/>
        </p:nvSpPr>
        <p:spPr>
          <a:xfrm>
            <a:off x="-62144" y="0"/>
            <a:ext cx="2847278" cy="6857999"/>
          </a:xfrm>
          <a:prstGeom prst="rect">
            <a:avLst/>
          </a:prstGeom>
          <a:gradFill>
            <a:gsLst>
              <a:gs pos="0">
                <a:srgbClr val="049DB4"/>
              </a:gs>
              <a:gs pos="34000">
                <a:srgbClr val="0383BA"/>
              </a:gs>
              <a:gs pos="69000">
                <a:srgbClr val="223F81"/>
              </a:gs>
              <a:gs pos="100000">
                <a:srgbClr val="142139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79BC19-DE5C-BF43-A5D0-CD9D20C7E9DE}"/>
              </a:ext>
            </a:extLst>
          </p:cNvPr>
          <p:cNvSpPr txBox="1">
            <a:spLocks/>
          </p:cNvSpPr>
          <p:nvPr/>
        </p:nvSpPr>
        <p:spPr>
          <a:xfrm>
            <a:off x="131735" y="289931"/>
            <a:ext cx="2715543" cy="24086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chemeClr val="bg1"/>
                </a:solidFill>
              </a:rPr>
              <a:t>Safety-Connection</a:t>
            </a:r>
          </a:p>
          <a:p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b="1" dirty="0">
                <a:solidFill>
                  <a:schemeClr val="bg1"/>
                </a:solidFill>
                <a:cs typeface="Arial"/>
              </a:rPr>
              <a:t>Target fleets with recent accidents and safety violations</a:t>
            </a:r>
            <a:endParaRPr lang="en-US" sz="18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8C73648-455B-9C47-BCAB-2475ED040B95}"/>
              </a:ext>
            </a:extLst>
          </p:cNvPr>
          <p:cNvSpPr txBox="1">
            <a:spLocks/>
          </p:cNvSpPr>
          <p:nvPr/>
        </p:nvSpPr>
        <p:spPr>
          <a:xfrm>
            <a:off x="3437288" y="456224"/>
            <a:ext cx="6689125" cy="569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383BA"/>
              </a:buClr>
            </a:pPr>
            <a:r>
              <a:rPr lang="en-US" sz="3600" b="1" dirty="0">
                <a:solidFill>
                  <a:srgbClr val="142139"/>
                </a:solidFill>
              </a:rPr>
              <a:t>Construction-Connection</a:t>
            </a:r>
          </a:p>
          <a:p>
            <a:pPr marL="0" indent="0">
              <a:buClr>
                <a:srgbClr val="0383BA"/>
              </a:buClr>
              <a:buNone/>
            </a:pPr>
            <a:r>
              <a:rPr lang="en-US" sz="2000" b="1" dirty="0">
                <a:solidFill>
                  <a:srgbClr val="142139"/>
                </a:solidFill>
              </a:rPr>
              <a:t>Fleet Prospecting Solution </a:t>
            </a:r>
            <a:r>
              <a:rPr lang="en-US" sz="2000" b="1" dirty="0" err="1">
                <a:solidFill>
                  <a:srgbClr val="142139"/>
                </a:solidFill>
              </a:rPr>
              <a:t>supplers</a:t>
            </a:r>
            <a:r>
              <a:rPr lang="en-US" sz="2000" b="1" dirty="0">
                <a:solidFill>
                  <a:srgbClr val="142139"/>
                </a:solidFill>
              </a:rPr>
              <a:t> targeting the Construction industry</a:t>
            </a:r>
          </a:p>
          <a:p>
            <a:pPr marL="0" indent="0">
              <a:buClr>
                <a:srgbClr val="0383BA"/>
              </a:buClr>
              <a:buNone/>
            </a:pPr>
            <a:r>
              <a:rPr lang="en-US" sz="2000" b="1" dirty="0">
                <a:solidFill>
                  <a:srgbClr val="142139"/>
                </a:solidFill>
              </a:rPr>
              <a:t>	Over 70,000 Fleets</a:t>
            </a:r>
          </a:p>
          <a:p>
            <a:pPr marL="0" indent="0">
              <a:buClr>
                <a:srgbClr val="0383BA"/>
              </a:buClr>
              <a:buNone/>
            </a:pPr>
            <a:r>
              <a:rPr lang="en-US" sz="2000" b="1" dirty="0">
                <a:solidFill>
                  <a:srgbClr val="142139"/>
                </a:solidFill>
              </a:rPr>
              <a:t>		Construction</a:t>
            </a:r>
          </a:p>
          <a:p>
            <a:pPr marL="0" indent="0">
              <a:buClr>
                <a:srgbClr val="0383BA"/>
              </a:buClr>
              <a:buNone/>
            </a:pPr>
            <a:r>
              <a:rPr lang="en-US" sz="2000" b="1" dirty="0">
                <a:solidFill>
                  <a:srgbClr val="142139"/>
                </a:solidFill>
              </a:rPr>
              <a:t>		Contractors</a:t>
            </a:r>
          </a:p>
          <a:p>
            <a:pPr marL="0" indent="0">
              <a:buClr>
                <a:srgbClr val="0383BA"/>
              </a:buClr>
              <a:buNone/>
            </a:pPr>
            <a:r>
              <a:rPr lang="en-US" sz="2000" b="1" dirty="0">
                <a:solidFill>
                  <a:srgbClr val="142139"/>
                </a:solidFill>
              </a:rPr>
              <a:t>		Plumbing/HVAC</a:t>
            </a:r>
          </a:p>
          <a:p>
            <a:pPr marL="0" indent="0">
              <a:buClr>
                <a:srgbClr val="0383BA"/>
              </a:buClr>
              <a:buNone/>
            </a:pPr>
            <a:r>
              <a:rPr lang="en-US" sz="2000" b="1" dirty="0">
                <a:solidFill>
                  <a:srgbClr val="142139"/>
                </a:solidFill>
              </a:rPr>
              <a:t>		</a:t>
            </a:r>
            <a:r>
              <a:rPr lang="en-US" sz="2000" b="1" dirty="0" err="1">
                <a:solidFill>
                  <a:srgbClr val="142139"/>
                </a:solidFill>
              </a:rPr>
              <a:t>Landscapting</a:t>
            </a:r>
            <a:endParaRPr lang="en-US" sz="1200" dirty="0">
              <a:solidFill>
                <a:srgbClr val="142139"/>
              </a:solidFill>
            </a:endParaRP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Target prospects by fleet size, SIC code, fuel types in operation, or GVW.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In-Depth firmographic and demographic detail available including addresses, phone numbers, email addresses, revenue, number of employees, along with full VIN level data on fleets.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Email marketing support also available if you want the Fleet-Connection team to produce and manage your lead gen campaigns</a:t>
            </a:r>
          </a:p>
          <a:p>
            <a:endParaRPr lang="en-US" sz="2000" dirty="0">
              <a:solidFill>
                <a:srgbClr val="142139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839920-D52E-884A-BEA1-AF6EA2E2B284}"/>
              </a:ext>
            </a:extLst>
          </p:cNvPr>
          <p:cNvSpPr txBox="1"/>
          <p:nvPr/>
        </p:nvSpPr>
        <p:spPr>
          <a:xfrm>
            <a:off x="131735" y="4442727"/>
            <a:ext cx="236591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Fill your sales pipeline with thousands of qualified sales leads each month!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939858D-9407-3948-85FB-4EBAAD81F668}"/>
              </a:ext>
            </a:extLst>
          </p:cNvPr>
          <p:cNvCxnSpPr>
            <a:cxnSpLocks/>
          </p:cNvCxnSpPr>
          <p:nvPr/>
        </p:nvCxnSpPr>
        <p:spPr>
          <a:xfrm flipH="1">
            <a:off x="10716423" y="6154482"/>
            <a:ext cx="1" cy="454474"/>
          </a:xfrm>
          <a:prstGeom prst="line">
            <a:avLst/>
          </a:prstGeom>
          <a:ln>
            <a:solidFill>
              <a:srgbClr val="142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523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C25771-3395-2F43-A7A8-4C16E6A6B3E2}"/>
              </a:ext>
            </a:extLst>
          </p:cNvPr>
          <p:cNvSpPr/>
          <p:nvPr/>
        </p:nvSpPr>
        <p:spPr>
          <a:xfrm>
            <a:off x="-62144" y="0"/>
            <a:ext cx="2847278" cy="6857999"/>
          </a:xfrm>
          <a:prstGeom prst="rect">
            <a:avLst/>
          </a:prstGeom>
          <a:gradFill>
            <a:gsLst>
              <a:gs pos="0">
                <a:srgbClr val="049DB4"/>
              </a:gs>
              <a:gs pos="34000">
                <a:srgbClr val="0383BA"/>
              </a:gs>
              <a:gs pos="69000">
                <a:srgbClr val="223F81"/>
              </a:gs>
              <a:gs pos="100000">
                <a:srgbClr val="142139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79BC19-DE5C-BF43-A5D0-CD9D20C7E9DE}"/>
              </a:ext>
            </a:extLst>
          </p:cNvPr>
          <p:cNvSpPr txBox="1">
            <a:spLocks/>
          </p:cNvSpPr>
          <p:nvPr/>
        </p:nvSpPr>
        <p:spPr>
          <a:xfrm>
            <a:off x="131735" y="289931"/>
            <a:ext cx="2715543" cy="24086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chemeClr val="bg1"/>
                </a:solidFill>
              </a:rPr>
              <a:t>In Market Fleets</a:t>
            </a:r>
          </a:p>
          <a:p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b="1" dirty="0">
                <a:solidFill>
                  <a:schemeClr val="bg1"/>
                </a:solidFill>
                <a:cs typeface="Arial"/>
              </a:rPr>
              <a:t>Target fleets that are actively searching for your products</a:t>
            </a:r>
            <a:endParaRPr lang="en-US" sz="18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8C73648-455B-9C47-BCAB-2475ED040B95}"/>
              </a:ext>
            </a:extLst>
          </p:cNvPr>
          <p:cNvSpPr txBox="1">
            <a:spLocks/>
          </p:cNvSpPr>
          <p:nvPr/>
        </p:nvSpPr>
        <p:spPr>
          <a:xfrm>
            <a:off x="3428410" y="477443"/>
            <a:ext cx="6689125" cy="569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383BA"/>
              </a:buClr>
            </a:pPr>
            <a:r>
              <a:rPr lang="en-US" sz="3600" b="1" dirty="0">
                <a:solidFill>
                  <a:srgbClr val="142139"/>
                </a:solidFill>
              </a:rPr>
              <a:t>Lead-Connection</a:t>
            </a:r>
          </a:p>
          <a:p>
            <a:pPr marL="0" indent="0">
              <a:buClr>
                <a:srgbClr val="0383BA"/>
              </a:buClr>
              <a:buNone/>
            </a:pPr>
            <a:r>
              <a:rPr lang="en-US" sz="2000" b="1" dirty="0">
                <a:solidFill>
                  <a:srgbClr val="142139"/>
                </a:solidFill>
              </a:rPr>
              <a:t>Fleet Prospecting Solution for suppliers looking for fleets that are actively searching for your solution</a:t>
            </a:r>
          </a:p>
          <a:p>
            <a:pPr marL="0" indent="0">
              <a:buClr>
                <a:srgbClr val="0383BA"/>
              </a:buClr>
              <a:buNone/>
            </a:pPr>
            <a:r>
              <a:rPr lang="en-US" sz="2000" b="1" dirty="0">
                <a:solidFill>
                  <a:srgbClr val="142139"/>
                </a:solidFill>
              </a:rPr>
              <a:t>	Segments available</a:t>
            </a:r>
          </a:p>
          <a:p>
            <a:pPr lvl="2"/>
            <a:r>
              <a:rPr lang="en-US" sz="1200" dirty="0">
                <a:solidFill>
                  <a:srgbClr val="142139"/>
                </a:solidFill>
              </a:rPr>
              <a:t>Safety Products</a:t>
            </a:r>
          </a:p>
          <a:p>
            <a:pPr lvl="2"/>
            <a:r>
              <a:rPr lang="en-US" sz="1200" dirty="0">
                <a:solidFill>
                  <a:srgbClr val="142139"/>
                </a:solidFill>
              </a:rPr>
              <a:t>Dash Cams</a:t>
            </a:r>
          </a:p>
          <a:p>
            <a:pPr lvl="2"/>
            <a:r>
              <a:rPr lang="en-US" sz="1200" dirty="0">
                <a:solidFill>
                  <a:srgbClr val="142139"/>
                </a:solidFill>
              </a:rPr>
              <a:t>Trailers</a:t>
            </a:r>
          </a:p>
          <a:p>
            <a:pPr lvl="2"/>
            <a:r>
              <a:rPr lang="en-US" sz="1200" dirty="0">
                <a:solidFill>
                  <a:srgbClr val="142139"/>
                </a:solidFill>
              </a:rPr>
              <a:t>Vehicles</a:t>
            </a:r>
          </a:p>
          <a:p>
            <a:pPr lvl="2"/>
            <a:r>
              <a:rPr lang="en-US" sz="1200" dirty="0">
                <a:solidFill>
                  <a:srgbClr val="142139"/>
                </a:solidFill>
              </a:rPr>
              <a:t>Telematics</a:t>
            </a:r>
          </a:p>
          <a:p>
            <a:pPr lvl="2"/>
            <a:r>
              <a:rPr lang="en-US" sz="1200" dirty="0">
                <a:solidFill>
                  <a:srgbClr val="142139"/>
                </a:solidFill>
              </a:rPr>
              <a:t>Load Boards</a:t>
            </a:r>
          </a:p>
          <a:p>
            <a:pPr lvl="2"/>
            <a:r>
              <a:rPr lang="en-US" sz="1200" dirty="0">
                <a:solidFill>
                  <a:srgbClr val="142139"/>
                </a:solidFill>
              </a:rPr>
              <a:t>TMS Products</a:t>
            </a:r>
          </a:p>
          <a:p>
            <a:r>
              <a:rPr lang="en-US" sz="2000" dirty="0">
                <a:solidFill>
                  <a:srgbClr val="142139"/>
                </a:solidFill>
              </a:rPr>
              <a:t>Behavioral and demographic data to target fleets that are currently in market</a:t>
            </a:r>
          </a:p>
          <a:p>
            <a:r>
              <a:rPr lang="en-US" sz="2000" dirty="0">
                <a:solidFill>
                  <a:srgbClr val="142139"/>
                </a:solidFill>
              </a:rPr>
              <a:t>Minimum of 200 qualified leads per month </a:t>
            </a:r>
          </a:p>
          <a:p>
            <a:pPr lvl="1"/>
            <a:r>
              <a:rPr lang="en-US" sz="1600" dirty="0">
                <a:solidFill>
                  <a:srgbClr val="142139"/>
                </a:solidFill>
              </a:rPr>
              <a:t>$10-$40 per lead based on volume</a:t>
            </a:r>
          </a:p>
          <a:p>
            <a:pPr marL="457200" lvl="1" indent="0">
              <a:buNone/>
            </a:pPr>
            <a:endParaRPr lang="en-US" sz="1600" dirty="0">
              <a:solidFill>
                <a:srgbClr val="142139"/>
              </a:solidFill>
            </a:endParaRPr>
          </a:p>
          <a:p>
            <a:endParaRPr lang="en-US" sz="2000" dirty="0">
              <a:solidFill>
                <a:srgbClr val="142139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839920-D52E-884A-BEA1-AF6EA2E2B284}"/>
              </a:ext>
            </a:extLst>
          </p:cNvPr>
          <p:cNvSpPr txBox="1"/>
          <p:nvPr/>
        </p:nvSpPr>
        <p:spPr>
          <a:xfrm>
            <a:off x="131735" y="4442727"/>
            <a:ext cx="236591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Fill your sales pipeline with thousands of qualified sales leads each month!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939858D-9407-3948-85FB-4EBAAD81F668}"/>
              </a:ext>
            </a:extLst>
          </p:cNvPr>
          <p:cNvCxnSpPr>
            <a:cxnSpLocks/>
          </p:cNvCxnSpPr>
          <p:nvPr/>
        </p:nvCxnSpPr>
        <p:spPr>
          <a:xfrm flipH="1">
            <a:off x="10716423" y="6154482"/>
            <a:ext cx="1" cy="454474"/>
          </a:xfrm>
          <a:prstGeom prst="line">
            <a:avLst/>
          </a:prstGeom>
          <a:ln>
            <a:solidFill>
              <a:srgbClr val="142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69847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C25771-3395-2F43-A7A8-4C16E6A6B3E2}"/>
              </a:ext>
            </a:extLst>
          </p:cNvPr>
          <p:cNvSpPr/>
          <p:nvPr/>
        </p:nvSpPr>
        <p:spPr>
          <a:xfrm>
            <a:off x="-62144" y="0"/>
            <a:ext cx="2847278" cy="6857999"/>
          </a:xfrm>
          <a:prstGeom prst="rect">
            <a:avLst/>
          </a:prstGeom>
          <a:gradFill>
            <a:gsLst>
              <a:gs pos="0">
                <a:srgbClr val="049DB4"/>
              </a:gs>
              <a:gs pos="34000">
                <a:srgbClr val="0383BA"/>
              </a:gs>
              <a:gs pos="69000">
                <a:srgbClr val="223F81"/>
              </a:gs>
              <a:gs pos="100000">
                <a:srgbClr val="142139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679BC19-DE5C-BF43-A5D0-CD9D20C7E9DE}"/>
              </a:ext>
            </a:extLst>
          </p:cNvPr>
          <p:cNvSpPr txBox="1">
            <a:spLocks/>
          </p:cNvSpPr>
          <p:nvPr/>
        </p:nvSpPr>
        <p:spPr>
          <a:xfrm>
            <a:off x="131735" y="289931"/>
            <a:ext cx="2715543" cy="24086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b="1" dirty="0">
                <a:solidFill>
                  <a:schemeClr val="bg1"/>
                </a:solidFill>
              </a:rPr>
              <a:t>Clean-Connection</a:t>
            </a:r>
          </a:p>
          <a:p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dirty="0">
                <a:solidFill>
                  <a:schemeClr val="bg1"/>
                </a:solidFill>
              </a:rPr>
              <a:t>EV/Clean Transportation Targeting</a:t>
            </a:r>
            <a:endParaRPr lang="en-US" sz="18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8C73648-455B-9C47-BCAB-2475ED040B95}"/>
              </a:ext>
            </a:extLst>
          </p:cNvPr>
          <p:cNvSpPr txBox="1">
            <a:spLocks/>
          </p:cNvSpPr>
          <p:nvPr/>
        </p:nvSpPr>
        <p:spPr>
          <a:xfrm>
            <a:off x="3437288" y="456224"/>
            <a:ext cx="6689125" cy="56982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383BA"/>
              </a:buClr>
            </a:pPr>
            <a:r>
              <a:rPr lang="en-US" sz="3600" b="1" dirty="0">
                <a:solidFill>
                  <a:srgbClr val="142139"/>
                </a:solidFill>
              </a:rPr>
              <a:t>Clean-Connection</a:t>
            </a:r>
          </a:p>
          <a:p>
            <a:pPr marL="0" indent="0">
              <a:buClr>
                <a:srgbClr val="0383BA"/>
              </a:buClr>
              <a:buNone/>
            </a:pPr>
            <a:r>
              <a:rPr lang="en-US" sz="2400" b="1" dirty="0">
                <a:solidFill>
                  <a:srgbClr val="142139"/>
                </a:solidFill>
              </a:rPr>
              <a:t>EV-Clean Fleet Prospecting Tool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Target known EV/Clean Fleet intenders with our new Clean-Connection database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28,000 current owners and operators of EV/Hybrid/CNG/LNG powered vehicles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40,000 additional public and private sector fleets that have indicated that they are looking to purchase clean tech products in the next 6-12 months.</a:t>
            </a:r>
          </a:p>
          <a:p>
            <a:pPr lvl="2">
              <a:buClr>
                <a:srgbClr val="0383BA"/>
              </a:buClr>
            </a:pPr>
            <a:r>
              <a:rPr lang="en-US" sz="1200" dirty="0">
                <a:solidFill>
                  <a:srgbClr val="142139"/>
                </a:solidFill>
              </a:rPr>
              <a:t>Perfect for Vehicles Manufacturers and clean tech suppliers including those that provide charging infrastructure, fueling services, fleet management, and safety products</a:t>
            </a:r>
          </a:p>
          <a:p>
            <a:pPr lvl="2">
              <a:buClr>
                <a:srgbClr val="0383BA"/>
              </a:buClr>
            </a:pPr>
            <a:endParaRPr lang="en-US" sz="1200" dirty="0">
              <a:solidFill>
                <a:srgbClr val="142139"/>
              </a:solidFill>
            </a:endParaRP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Target prospects by fleet size, SIC code, fuel types in operation, or GVW.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In-Depth firmographic and demographic detail available including addresses, phone numbers, email addresses, revenue, number of employees, along with full VIN level data on fleets.</a:t>
            </a:r>
          </a:p>
          <a:p>
            <a:pPr lvl="1">
              <a:buClr>
                <a:srgbClr val="0383BA"/>
              </a:buClr>
            </a:pPr>
            <a:endParaRPr lang="en-US" sz="1600" dirty="0">
              <a:solidFill>
                <a:srgbClr val="142139"/>
              </a:solidFill>
            </a:endParaRP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List segments available for outright purchase </a:t>
            </a:r>
          </a:p>
          <a:p>
            <a:pPr lvl="1">
              <a:buClr>
                <a:srgbClr val="0383BA"/>
              </a:buClr>
            </a:pPr>
            <a:r>
              <a:rPr lang="en-US" sz="1600" dirty="0">
                <a:solidFill>
                  <a:srgbClr val="142139"/>
                </a:solidFill>
              </a:rPr>
              <a:t>Email marketing support also available if you want the Fleet-Connection team to produce and manage your lead gen campaigns</a:t>
            </a:r>
          </a:p>
          <a:p>
            <a:endParaRPr lang="en-US" sz="2000" dirty="0">
              <a:solidFill>
                <a:srgbClr val="142139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839920-D52E-884A-BEA1-AF6EA2E2B284}"/>
              </a:ext>
            </a:extLst>
          </p:cNvPr>
          <p:cNvSpPr txBox="1"/>
          <p:nvPr/>
        </p:nvSpPr>
        <p:spPr>
          <a:xfrm>
            <a:off x="131735" y="4442727"/>
            <a:ext cx="236591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Fill your sales pipeline with thousands of qualified sales leads each month!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939858D-9407-3948-85FB-4EBAAD81F668}"/>
              </a:ext>
            </a:extLst>
          </p:cNvPr>
          <p:cNvCxnSpPr>
            <a:cxnSpLocks/>
          </p:cNvCxnSpPr>
          <p:nvPr/>
        </p:nvCxnSpPr>
        <p:spPr>
          <a:xfrm flipH="1">
            <a:off x="10716423" y="6154482"/>
            <a:ext cx="1" cy="454474"/>
          </a:xfrm>
          <a:prstGeom prst="line">
            <a:avLst/>
          </a:prstGeom>
          <a:ln>
            <a:solidFill>
              <a:srgbClr val="1421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841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7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#m/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1.53899999999999992362E+00&quot;&gt;&lt;m_msothmcolidx val=&quot;0&quot;/&gt;&lt;m_rgb r=&quot;B3&quot; g=&quot;B3&quot; b=&quot;B3&quot;/&gt;&lt;m_nBrightness endver=&quot;26206&quot; val=&quot;0&quot;/&gt;&lt;/elem&gt;&lt;elem m_fUsage=&quot;1.00000000000000000000E+00&quot;&gt;&lt;m_msothmcolidx val=&quot;0&quot;/&gt;&lt;m_rgb r=&quot;DF&quot; g=&quot;DF&quot; b=&quot;DF&quot;/&gt;&lt;m_nBrightness endver=&quot;26206&quot; val=&quot;0&quot;/&gt;&lt;/elem&gt;&lt;elem m_fUsage=&quot;9.00000000000000022204E-01&quot;&gt;&lt;m_msothmcolidx val=&quot;0&quot;/&gt;&lt;m_rgb r=&quot;D1&quot; g=&quot;D1&quot; b=&quot;D1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Bobit Corporate">
      <a:dk1>
        <a:srgbClr val="28434C"/>
      </a:dk1>
      <a:lt1>
        <a:srgbClr val="FFFFFF"/>
      </a:lt1>
      <a:dk2>
        <a:srgbClr val="44546A"/>
      </a:dk2>
      <a:lt2>
        <a:srgbClr val="E7E6E6"/>
      </a:lt2>
      <a:accent1>
        <a:srgbClr val="14B795"/>
      </a:accent1>
      <a:accent2>
        <a:srgbClr val="01658F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02907E83ED04B478D1F3C0BA4EAA05A" ma:contentTypeVersion="12" ma:contentTypeDescription="Create a new document." ma:contentTypeScope="" ma:versionID="bfe67bc9588ec1929eec9dd2693d56f4">
  <xsd:schema xmlns:xsd="http://www.w3.org/2001/XMLSchema" xmlns:xs="http://www.w3.org/2001/XMLSchema" xmlns:p="http://schemas.microsoft.com/office/2006/metadata/properties" xmlns:ns2="3a2efbe5-0600-42b9-a26d-ceb5e7434f9e" xmlns:ns3="8b581ea5-c48b-477d-8392-346720116ec3" targetNamespace="http://schemas.microsoft.com/office/2006/metadata/properties" ma:root="true" ma:fieldsID="7df6809b01681cd713a6a990b4bcb7c4" ns2:_="" ns3:_="">
    <xsd:import namespace="3a2efbe5-0600-42b9-a26d-ceb5e7434f9e"/>
    <xsd:import namespace="8b581ea5-c48b-477d-8392-346720116ec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2efbe5-0600-42b9-a26d-ceb5e7434f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581ea5-c48b-477d-8392-346720116ec3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1BAE644-A43B-482C-864A-73B551DDA74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2efbe5-0600-42b9-a26d-ceb5e7434f9e"/>
    <ds:schemaRef ds:uri="8b581ea5-c48b-477d-8392-346720116ec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C4F5D58-DA14-4DC6-B78A-48F5ACF0E6D9}">
  <ds:schemaRefs>
    <ds:schemaRef ds:uri="http://purl.org/dc/terms/"/>
    <ds:schemaRef ds:uri="3a2efbe5-0600-42b9-a26d-ceb5e7434f9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8b581ea5-c48b-477d-8392-346720116ec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17E3C38-17A4-4930-B859-00DC7902FA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433</TotalTime>
  <Words>1298</Words>
  <Application>Microsoft Office PowerPoint</Application>
  <PresentationFormat>Widescreen</PresentationFormat>
  <Paragraphs>167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Times New Roman</vt:lpstr>
      <vt:lpstr>Wingdings</vt:lpstr>
      <vt:lpstr>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Sarah Heath</dc:creator>
  <cp:keywords/>
  <dc:description/>
  <cp:lastModifiedBy>sherb brown</cp:lastModifiedBy>
  <cp:revision>112</cp:revision>
  <cp:lastPrinted>2022-03-30T23:46:01Z</cp:lastPrinted>
  <dcterms:created xsi:type="dcterms:W3CDTF">2019-10-15T00:15:14Z</dcterms:created>
  <dcterms:modified xsi:type="dcterms:W3CDTF">2023-01-23T15:40:2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2907E83ED04B478D1F3C0BA4EAA05A</vt:lpwstr>
  </property>
</Properties>
</file>